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7"/>
  </p:notesMasterIdLst>
  <p:sldIdLst>
    <p:sldId id="270" r:id="rId4"/>
    <p:sldId id="289" r:id="rId5"/>
    <p:sldId id="301" r:id="rId6"/>
    <p:sldId id="299" r:id="rId7"/>
    <p:sldId id="294" r:id="rId8"/>
    <p:sldId id="290" r:id="rId9"/>
    <p:sldId id="300" r:id="rId10"/>
    <p:sldId id="292" r:id="rId11"/>
    <p:sldId id="293" r:id="rId12"/>
    <p:sldId id="296" r:id="rId13"/>
    <p:sldId id="298" r:id="rId14"/>
    <p:sldId id="297" r:id="rId15"/>
    <p:sldId id="3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-90" y="-246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0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xmlns="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xmlns="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xmlns="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xmlns="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6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5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0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78036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xmlns="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xmlns="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xmlns="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xmlns="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xmlns="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111815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7285528"/>
              </p:ext>
            </p:extLst>
          </p:nvPr>
        </p:nvGraphicFramePr>
        <p:xfrm>
          <a:off x="539750" y="1254424"/>
          <a:ext cx="11079996" cy="5192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00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1231"/>
                <a:gridCol w="139257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9628"/>
                <a:gridCol w="1710206"/>
                <a:gridCol w="1502775"/>
                <a:gridCol w="1065555"/>
                <a:gridCol w="1577971"/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顾客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P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号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是否车主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试驾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768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07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xmlns="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414945"/>
              </p:ext>
            </p:extLst>
          </p:nvPr>
        </p:nvGraphicFramePr>
        <p:xfrm>
          <a:off x="544310" y="3164422"/>
          <a:ext cx="11048533" cy="3239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xmlns="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xmlns="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xmlns="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xmlns="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xmlns="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2554040"/>
              </p:ext>
            </p:extLst>
          </p:nvPr>
        </p:nvGraphicFramePr>
        <p:xfrm>
          <a:off x="539750" y="1254424"/>
          <a:ext cx="11079993" cy="4762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04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895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iod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662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64047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314606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</TotalTime>
  <Words>578</Words>
  <Application>Microsoft Office PowerPoint</Application>
  <PresentationFormat>自定义</PresentationFormat>
  <Paragraphs>150</Paragraphs>
  <Slides>13</Slides>
  <Notes>9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7" baseType="lpstr"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PowerPoint 演示文稿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61</cp:revision>
  <dcterms:created xsi:type="dcterms:W3CDTF">2022-02-15T07:41:51Z</dcterms:created>
  <dcterms:modified xsi:type="dcterms:W3CDTF">2022-04-11T14:34:50Z</dcterms:modified>
</cp:coreProperties>
</file>